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7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7"/>
  </p:notesMasterIdLst>
  <p:sldIdLst>
    <p:sldId id="256" r:id="rId2"/>
    <p:sldId id="2145705926" r:id="rId3"/>
    <p:sldId id="257" r:id="rId4"/>
    <p:sldId id="2145705925" r:id="rId5"/>
    <p:sldId id="2145705952" r:id="rId6"/>
    <p:sldId id="2145705953" r:id="rId7"/>
    <p:sldId id="258" r:id="rId8"/>
    <p:sldId id="259" r:id="rId9"/>
    <p:sldId id="301" r:id="rId10"/>
    <p:sldId id="300" r:id="rId11"/>
    <p:sldId id="302" r:id="rId12"/>
    <p:sldId id="311" r:id="rId13"/>
    <p:sldId id="312" r:id="rId14"/>
    <p:sldId id="303" r:id="rId15"/>
    <p:sldId id="304" r:id="rId16"/>
    <p:sldId id="2145705954" r:id="rId17"/>
    <p:sldId id="263" r:id="rId18"/>
    <p:sldId id="306" r:id="rId19"/>
    <p:sldId id="264" r:id="rId20"/>
    <p:sldId id="307" r:id="rId21"/>
    <p:sldId id="308" r:id="rId22"/>
    <p:sldId id="309" r:id="rId23"/>
    <p:sldId id="310" r:id="rId24"/>
    <p:sldId id="266" r:id="rId25"/>
    <p:sldId id="267" r:id="rId26"/>
    <p:sldId id="2145705955" r:id="rId27"/>
    <p:sldId id="270" r:id="rId28"/>
    <p:sldId id="271" r:id="rId29"/>
    <p:sldId id="2145705956" r:id="rId30"/>
    <p:sldId id="273" r:id="rId31"/>
    <p:sldId id="274" r:id="rId32"/>
    <p:sldId id="275" r:id="rId33"/>
    <p:sldId id="276" r:id="rId34"/>
    <p:sldId id="279" r:id="rId35"/>
    <p:sldId id="280" r:id="rId36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5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2931" autoAdjust="0"/>
  </p:normalViewPr>
  <p:slideViewPr>
    <p:cSldViewPr snapToGrid="0" showGuides="1">
      <p:cViewPr varScale="1">
        <p:scale>
          <a:sx n="46" d="100"/>
          <a:sy n="46" d="100"/>
        </p:scale>
        <p:origin x="1420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5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46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>
          <a:extLst>
            <a:ext uri="{FF2B5EF4-FFF2-40B4-BE49-F238E27FC236}">
              <a16:creationId xmlns:a16="http://schemas.microsoft.com/office/drawing/2014/main" id="{0B39235C-96E3-04B4-5E87-0AE80F6AF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>
            <a:extLst>
              <a:ext uri="{FF2B5EF4-FFF2-40B4-BE49-F238E27FC236}">
                <a16:creationId xmlns:a16="http://schemas.microsoft.com/office/drawing/2014/main" id="{FC8AE221-E83F-74F3-859C-9C0EA5FC7B0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6" name="Google Shape;216;g344eaf56fbf_3_1:notes">
            <a:extLst>
              <a:ext uri="{FF2B5EF4-FFF2-40B4-BE49-F238E27FC236}">
                <a16:creationId xmlns:a16="http://schemas.microsoft.com/office/drawing/2014/main" id="{E985364E-E78D-61A4-AC45-B8D39D05E39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24961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3E0E3488-B881-FE22-2362-EAAC171523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51BD2013-D576-6F49-F6E4-CBBC9407547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4D79A1C3-359B-8C30-8FB9-E991CE47E8F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--select banned user of login-user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533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By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BannedUser BU</a:t>
            </a: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r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009D75CF-2503-67FC-CA88-10A155E2D7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10839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>
          <a:extLst>
            <a:ext uri="{FF2B5EF4-FFF2-40B4-BE49-F238E27FC236}">
              <a16:creationId xmlns:a16="http://schemas.microsoft.com/office/drawing/2014/main" id="{64452FCE-E733-08E5-576E-2D366DD44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>
            <a:extLst>
              <a:ext uri="{FF2B5EF4-FFF2-40B4-BE49-F238E27FC236}">
                <a16:creationId xmlns:a16="http://schemas.microsoft.com/office/drawing/2014/main" id="{EDEAA0CE-1789-9113-B520-C9D0C8394E1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6" name="Google Shape;216;g344eaf56fbf_3_1:notes">
            <a:extLst>
              <a:ext uri="{FF2B5EF4-FFF2-40B4-BE49-F238E27FC236}">
                <a16:creationId xmlns:a16="http://schemas.microsoft.com/office/drawing/2014/main" id="{15982ADA-259A-166F-BF84-7D84CB96229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057589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F866E1FE-5940-69F1-8571-08C9826F89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C2B910D2-5AAE-EC27-1A06-241E89F5AD3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81E03D4B-2C2D-0656-FE6C-6A74C8C18B5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LoginUser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 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File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iz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iz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FileThumbNailImg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t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Icon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Fil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f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wn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Typ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ft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Type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t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Type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@LoginUser</a:t>
            </a:r>
          </a:p>
          <a:p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-- 2.select login user folder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Name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Folder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wn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@userId</a:t>
            </a:r>
          </a:p>
          <a:p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C852986C-1657-6B65-C3CD-EA0E977CE67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26608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B098CF9B-4392-2423-902B-6D0024659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EB62E476-09BF-F575-1FD4-525B982B6FA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AE4B0CF7-6DE4-2510-4637-01BF7E4564A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-- 2.select shared folder with login user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01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Name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haredUse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u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hare s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hare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hare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[Folder]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Type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1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267BD9F1-B316-13F3-60E7-FF7D91AE798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32060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>
          <a:extLst>
            <a:ext uri="{FF2B5EF4-FFF2-40B4-BE49-F238E27FC236}">
              <a16:creationId xmlns:a16="http://schemas.microsoft.com/office/drawing/2014/main" id="{C31C025B-B75F-6D52-335F-45E310AB5A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>
            <a:extLst>
              <a:ext uri="{FF2B5EF4-FFF2-40B4-BE49-F238E27FC236}">
                <a16:creationId xmlns:a16="http://schemas.microsoft.com/office/drawing/2014/main" id="{ED3A96D4-151D-4913-45C5-88EA24B18E9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6" name="Google Shape;216;g344eaf56fbf_3_1:notes">
            <a:extLst>
              <a:ext uri="{FF2B5EF4-FFF2-40B4-BE49-F238E27FC236}">
                <a16:creationId xmlns:a16="http://schemas.microsoft.com/office/drawing/2014/main" id="{6171DF8D-A453-10B0-EFE7-27AE26CBE29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619959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E90BE295-EAB0-0EF9-1325-07DC1C858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D9F4C854-0F60-E213-BCC3-F7959CB98F9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7C374E57-F83A-0E93-69C3-907779536CE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02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File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CAS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EXISTS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(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 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hare s2 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haredUse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u2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2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ShareId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u2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ShareId 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2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ObjectTypeId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 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2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ObjectId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u2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UserId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)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THE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ld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Name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ELS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FF0000"/>
                </a:solidFill>
                <a:latin typeface="Consolas" panose="020B0609020204030204" pitchFamily="49" charset="0"/>
              </a:rPr>
              <a:t>'share for me'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EN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Location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haredUse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u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hare s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hare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hare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Fil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f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Type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2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LEF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Folder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ld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ld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</a:p>
          <a:p>
            <a:endParaRPr lang="en-US" sz="1200" dirty="0">
              <a:solidFill>
                <a:srgbClr val="808080"/>
              </a:solidFill>
              <a:latin typeface="Consolas" panose="020B0609020204030204" pitchFamily="49" charset="0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-Sor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Fi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Use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---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clare @Sharer int = 2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clare @shared int = 102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Fil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UserFil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ameOfFi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1.UserName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CreatedA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DateTi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d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dUse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Share s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.Shar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har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Fi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Object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Obje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Fil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le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t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File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.File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count 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count a1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hare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a1.UserId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@shared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.Share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@Sharer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*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dUse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-sort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Fi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le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-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clare @OwnerId int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clare @FileType int = 3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Fil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.Icon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UserFile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wn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CreatedA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Fi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le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t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File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t.FileType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count 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File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@FileType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@OwnerId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-Sort by Action recent---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entObjec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(</a:t>
            </a:r>
          </a:p>
          <a:p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Obje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Object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ActionDateTi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ActionLog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CAS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    WHE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Object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THEN 'Folder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    WHE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Object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 THEN 'File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    ELSE 'Unknown'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END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bject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le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lderOwn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tionRec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Fi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Obje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Fil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Object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LEFT JOIN Folder f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Obje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.Fold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.Object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WHERE 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1 OR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.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1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Obje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Object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Object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CASE 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WHE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Object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'Fi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' THE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UserFile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WHE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ObjectTyp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'Folder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' THE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.FolderNa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    ELSE NULL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END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bjec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ActionLog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  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ActionDateTime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entObjects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Fil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Obje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f.Fil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Object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2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FT JOIN Folder f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Obje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.Fold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ObjectType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File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11 OR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FolderOwn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1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BY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.ActionDateTi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SC;</a:t>
            </a: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5637004E-CA73-922F-D267-5AD033F49AA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07933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4090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C12BFD77-8524-86D1-A8DD-6C4794001B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BC0D38DD-674A-8AC6-2103-930F52248F5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80DA165B-557A-5153-08E6-01A05C84E08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55F6F552-54D3-32E9-940C-18777B8E919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71419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050C3833-33C9-202F-8B28-A0F796F45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95A17528-D0E4-508F-EF1D-3A061853435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070701BC-D13D-A50A-C748-FD21F69A95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794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File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Own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t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TypeName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avoriteObj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fa</a:t>
            </a: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lef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Fil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f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Type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2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lef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wn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Typ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ft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Type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t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Type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wn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DBF4C3CE-4071-F1F5-1357-51D73076C4C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66447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>
          <a:extLst>
            <a:ext uri="{FF2B5EF4-FFF2-40B4-BE49-F238E27FC236}">
              <a16:creationId xmlns:a16="http://schemas.microsoft.com/office/drawing/2014/main" id="{D0332FFE-54B7-2388-B47D-B70B2F171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>
            <a:extLst>
              <a:ext uri="{FF2B5EF4-FFF2-40B4-BE49-F238E27FC236}">
                <a16:creationId xmlns:a16="http://schemas.microsoft.com/office/drawing/2014/main" id="{B2471B8D-D2E5-B2FE-EBE3-1730EF2172B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>
            <a:extLst>
              <a:ext uri="{FF2B5EF4-FFF2-40B4-BE49-F238E27FC236}">
                <a16:creationId xmlns:a16="http://schemas.microsoft.com/office/drawing/2014/main" id="{114603DC-A810-3B55-B00B-4BB4E3B8CBB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7" name="Google Shape;257;g344eaf56fbf_2_0:notes">
            <a:extLst>
              <a:ext uri="{FF2B5EF4-FFF2-40B4-BE49-F238E27FC236}">
                <a16:creationId xmlns:a16="http://schemas.microsoft.com/office/drawing/2014/main" id="{8203D89C-BA12-BA91-4DAC-F2CF8F0EA09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28860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BDA69E48-2577-B8AB-6051-01F394F47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C7DEE33F-826A-78A6-9FFE-0DDFF07E7B8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A961FB39-1F02-5925-F6FB-A144B285A5D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433D0887-AF76-4A81-367B-2DB3FE41B28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3973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lect all of product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du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ductName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st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uration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ductItem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-- select Product bought by user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clare @userId int = 100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.Produ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.Product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serName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se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.IsPerce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1 the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.Co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- 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.Co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* (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.Discoun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/100))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ls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.Cos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-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.Discoun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d as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talCost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om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Product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up</a:t>
            </a: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Account a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.User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Promotion p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.Promotion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.Promotion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i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ductItem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ro on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.Product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.ProductId</a:t>
            </a:r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here </a:t>
            </a:r>
            <a:r>
              <a:rPr lang="en-US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p.UserId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= @userId</a:t>
            </a:r>
            <a:endParaRPr dirty="0"/>
          </a:p>
        </p:txBody>
      </p:sp>
      <p:sp>
        <p:nvSpPr>
          <p:cNvPr id="271" name="Google Shape;271;g344eaf56fbf_0_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0412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89011-EF3E-5654-400E-928D9EEF8F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A99EB1-4BC4-3824-64D1-416416C7A8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FDBC98-2621-0F4A-87BF-8264CBAC36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AE89C-80AE-58FE-BAC0-54E7D36913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56337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36f56cd1dea_1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36f56cd1dea_1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g36f56cd1dea_1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0193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B36E58-3ED2-DD92-71F9-FD908D4DA0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B7392F2-C9F9-3114-D663-1F29E6C8DA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EB63A8-4CEF-7558-C562-CF85948596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3D8FC1-C87A-6D3B-B30A-F074297125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816828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85285-0D1E-CF6B-58EE-005BCA5355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BCDC85-64C3-1894-B768-B4CC73BA98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F1E8AD-642E-54DA-571B-B4755A7EB6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9F81EB-9952-8965-CB0E-B6995B07CB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75195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-- 3.Recomment file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2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top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0</a:t>
            </a: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File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ctionLog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ctionDateTime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ctionRece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Fil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f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Type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2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ile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ctionDateTi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-- 4.Recomment folder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3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top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0</a:t>
            </a: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ctionLog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ctionDateTime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ctionRece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Folder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Type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an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bject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old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 </a:t>
            </a:r>
          </a:p>
          <a:p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ctionDateTi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endParaRPr dirty="0"/>
          </a:p>
        </p:txBody>
      </p:sp>
      <p:sp>
        <p:nvSpPr>
          <p:cNvPr id="210" name="Google Shape;210;g344eaf56fbf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821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4A7DC268-8114-9BD8-EED5-871B71B420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BE5553D1-388A-82C0-1A97-38E590C5E9E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F3FE105A-15A3-31D1-E39A-A8EB4CF6B5C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-- 1.select User information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Email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Email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mg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</a:t>
            </a:r>
          </a:p>
          <a:p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@userId </a:t>
            </a: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F6133782-15AB-04B9-5C17-C3BF7F73312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24027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A4397207-091D-4E38-8A6E-D38D42E9BE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467E3DA2-C406-0E06-DA1F-A14AAD2CEAB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AADE2C5A-9DD6-4005-5A03-E471DE19A7E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CB1DA6D4-75C5-C6F2-CBC8-4A90BCEB192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4082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21082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78665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583656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>
          <p15:clr>
            <a:srgbClr val="FBAE40"/>
          </p15:clr>
        </p15:guide>
        <p15:guide id="9" pos="270">
          <p15:clr>
            <a:srgbClr val="FBAE40"/>
          </p15:clr>
        </p15:guide>
        <p15:guide id="10" pos="3839">
          <p15:clr>
            <a:srgbClr val="FBAE40"/>
          </p15:clr>
        </p15:guide>
        <p15:guide id="11" orient="horz" pos="4047">
          <p15:clr>
            <a:srgbClr val="FBAE40"/>
          </p15:clr>
        </p15:guide>
        <p15:guide id="12" orient="horz" pos="963">
          <p15:clr>
            <a:srgbClr val="FBAE40"/>
          </p15:clr>
        </p15:guide>
        <p15:guide id="13" pos="356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84" r:id="rId25"/>
    <p:sldLayoutId id="2147483685" r:id="rId26"/>
    <p:sldLayoutId id="2147483686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12" Type="http://schemas.openxmlformats.org/officeDocument/2006/relationships/image" Target="../media/image14.jp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1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7.xml"/><Relationship Id="rId6" Type="http://schemas.openxmlformats.org/officeDocument/2006/relationships/image" Target="../media/image17.jp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.xml"/><Relationship Id="rId6" Type="http://schemas.openxmlformats.org/officeDocument/2006/relationships/image" Target="../media/image17.jp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17.jp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.xml"/><Relationship Id="rId6" Type="http://schemas.openxmlformats.org/officeDocument/2006/relationships/image" Target="../media/image17.jp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B9A73FD2-B9F4-2C89-1443-41F90FBE4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7900FD7-8143-2C88-4D56-C78547E524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5663" y="1098000"/>
            <a:ext cx="9680674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6552BCBC-6B7B-A4B9-325C-69EA1CFDCD4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etting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967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>
          <a:extLst>
            <a:ext uri="{FF2B5EF4-FFF2-40B4-BE49-F238E27FC236}">
              <a16:creationId xmlns:a16="http://schemas.microsoft.com/office/drawing/2014/main" id="{80E0C0C2-2B76-C181-D5C1-14932B66D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C41FF72C-3F34-9841-93C3-33691571903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10697"/>
          <a:stretch>
            <a:fillRect/>
          </a:stretch>
        </p:blipFill>
        <p:spPr>
          <a:xfrm>
            <a:off x="2609493" y="805403"/>
            <a:ext cx="6973014" cy="5247193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g344eaf56fbf_3_1">
            <a:extLst>
              <a:ext uri="{FF2B5EF4-FFF2-40B4-BE49-F238E27FC236}">
                <a16:creationId xmlns:a16="http://schemas.microsoft.com/office/drawing/2014/main" id="{42A6E18C-9C39-CD5C-CF6C-9254DEC926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For Setting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442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6EC48049-D889-FAFB-3B8F-799FCF476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4580E63-EB63-7F25-C94C-08E44B8F27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3073" y="1098000"/>
            <a:ext cx="9365854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8491D497-8C75-077C-A768-97CD6FFFEC3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Block User Fe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59393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>
          <a:extLst>
            <a:ext uri="{FF2B5EF4-FFF2-40B4-BE49-F238E27FC236}">
              <a16:creationId xmlns:a16="http://schemas.microsoft.com/office/drawing/2014/main" id="{86C3BD1B-F7D3-CA78-450C-3045844BA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0AD7C7-080A-CA5D-D43F-2231266EEB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0000" y="1055970"/>
            <a:ext cx="10151999" cy="4746060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g344eaf56fbf_3_1">
            <a:extLst>
              <a:ext uri="{FF2B5EF4-FFF2-40B4-BE49-F238E27FC236}">
                <a16:creationId xmlns:a16="http://schemas.microsoft.com/office/drawing/2014/main" id="{1CF82929-C88D-069D-74D9-FB8AF00D8F5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Block User Fe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8059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9DEF3623-EC13-D940-7DB8-B8AA2F4D0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CEE43CC-8280-4B94-DBA9-25E21538A8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635" y="1098000"/>
            <a:ext cx="104727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E4E838BD-2929-D7C1-4D94-43A7AC2383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My Drive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4594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3C963964-C4BF-60C5-1313-BFD39904F8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4FC341-F962-BDC4-6A21-D444C6205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110" y="1098000"/>
            <a:ext cx="10149779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0396EDB3-FE09-C498-4DF3-BDD6BA36E4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ared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0292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>
          <a:extLst>
            <a:ext uri="{FF2B5EF4-FFF2-40B4-BE49-F238E27FC236}">
              <a16:creationId xmlns:a16="http://schemas.microsoft.com/office/drawing/2014/main" id="{76F040EB-2DFC-0F02-A030-5886B283C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44eaf56fbf_3_1">
            <a:extLst>
              <a:ext uri="{FF2B5EF4-FFF2-40B4-BE49-F238E27FC236}">
                <a16:creationId xmlns:a16="http://schemas.microsoft.com/office/drawing/2014/main" id="{9B7233DA-8618-1CBD-B343-608CE28257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Stared Scree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585F1F-8605-098F-2932-E3757568A7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999" y="1098000"/>
            <a:ext cx="10240001" cy="57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50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6EDA15B-CB09-0903-D6F7-ABCACD407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7193" y="1098000"/>
            <a:ext cx="6877613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hare Screen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DF26B501-349F-8D4D-5F5B-41E9419428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780F339-7ABF-201C-1F96-0FCF82EB11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5670" y="1098000"/>
            <a:ext cx="952066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CF2A6985-12EC-433D-7926-EF1D3B0EF82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hare With Me Screen</a:t>
            </a:r>
          </a:p>
        </p:txBody>
      </p:sp>
    </p:spTree>
    <p:extLst>
      <p:ext uri="{BB962C8B-B14F-4D97-AF65-F5344CB8AC3E}">
        <p14:creationId xmlns:p14="http://schemas.microsoft.com/office/powerpoint/2010/main" val="23361379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0AF4E5-A651-F7F9-0186-1DCD9D5B13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143" y="1098000"/>
            <a:ext cx="10285713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Google Shape;259;g344eaf56fbf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Share feature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000" dirty="0">
                <a:solidFill>
                  <a:schemeClr val="dk2"/>
                </a:solidFill>
              </a:rPr>
              <a:t>Presentation</a:t>
            </a:r>
            <a:r>
              <a:rPr lang="en-US" sz="4000" dirty="0">
                <a:solidFill>
                  <a:srgbClr val="FF0000"/>
                </a:solidFill>
              </a:rPr>
              <a:t> </a:t>
            </a:r>
            <a:r>
              <a:rPr lang="en-US" sz="4000" dirty="0">
                <a:solidFill>
                  <a:schemeClr val="dk2"/>
                </a:solidFill>
              </a:rPr>
              <a:t>on Google Drive Functionalities</a:t>
            </a:r>
            <a:endParaRPr lang="en-GB" sz="4000" dirty="0">
              <a:solidFill>
                <a:schemeClr val="dk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  <p:pic>
        <p:nvPicPr>
          <p:cNvPr id="19" name="Picture Placeholder 18" descr="A person holding a tablet&#10;&#10;AI-generated content may be incorrect.">
            <a:extLst>
              <a:ext uri="{FF2B5EF4-FFF2-40B4-BE49-F238E27FC236}">
                <a16:creationId xmlns:a16="http://schemas.microsoft.com/office/drawing/2014/main" id="{C80693F6-1A43-D2F0-D84C-0ABCC9D60F0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2"/>
          <a:srcRect t="40634" b="4063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5124964B-95C7-63B1-58C7-061DF6302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6EF3FC-1235-78F1-CDBA-0070A4748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7B5F1C43-A50D-8B11-ADCD-876B2AA854A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 err="1"/>
              <a:t>ActionRecent</a:t>
            </a:r>
            <a:r>
              <a:rPr lang="en-GB" dirty="0"/>
              <a:t> Screen</a:t>
            </a:r>
          </a:p>
        </p:txBody>
      </p:sp>
    </p:spTree>
    <p:extLst>
      <p:ext uri="{BB962C8B-B14F-4D97-AF65-F5344CB8AC3E}">
        <p14:creationId xmlns:p14="http://schemas.microsoft.com/office/powerpoint/2010/main" val="12883291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8AD47259-C9CB-BFF4-FCB8-4C12209342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2E2D5E2-EB7D-A4F8-CC24-62BF1CD7A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62685362-3975-E313-168D-730C188246D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rash Screen</a:t>
            </a:r>
          </a:p>
        </p:txBody>
      </p:sp>
    </p:spTree>
    <p:extLst>
      <p:ext uri="{BB962C8B-B14F-4D97-AF65-F5344CB8AC3E}">
        <p14:creationId xmlns:p14="http://schemas.microsoft.com/office/powerpoint/2010/main" val="16553410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>
          <a:extLst>
            <a:ext uri="{FF2B5EF4-FFF2-40B4-BE49-F238E27FC236}">
              <a16:creationId xmlns:a16="http://schemas.microsoft.com/office/drawing/2014/main" id="{0A9CCB35-F6BE-84C3-6757-42DFF2A88E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7C73805-FCC0-F706-4DFE-13607BB31EC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7228"/>
          <a:stretch>
            <a:fillRect/>
          </a:stretch>
        </p:blipFill>
        <p:spPr>
          <a:xfrm>
            <a:off x="2217212" y="1098000"/>
            <a:ext cx="7757575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Google Shape;259;g344eaf56fbf_2_0">
            <a:extLst>
              <a:ext uri="{FF2B5EF4-FFF2-40B4-BE49-F238E27FC236}">
                <a16:creationId xmlns:a16="http://schemas.microsoft.com/office/drawing/2014/main" id="{2517E4C7-C351-55AA-D034-482AC1B32AE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Trash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6302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2B6965E6-5D42-F385-45AE-635056142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E5D21DE-456C-0598-6097-241CE6E48B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5259" y="1098000"/>
            <a:ext cx="9481482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972D8AD2-614C-41E3-91E1-AD7BA43800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orage Screen</a:t>
            </a:r>
          </a:p>
        </p:txBody>
      </p:sp>
    </p:spTree>
    <p:extLst>
      <p:ext uri="{BB962C8B-B14F-4D97-AF65-F5344CB8AC3E}">
        <p14:creationId xmlns:p14="http://schemas.microsoft.com/office/powerpoint/2010/main" val="21478667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8F0170F-9B3C-CF13-805A-FBB31DF366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489" y="1098000"/>
            <a:ext cx="11239022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g344eaf56fbf_0_5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Product Item Screen</a:t>
            </a:r>
            <a:endParaRPr lang="en-US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60A69F4-9C19-D74B-1125-26D7944036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5259" y="1098000"/>
            <a:ext cx="9481482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89" name="Google Shape;289;g36f56cd1dea_1_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Product Feature</a:t>
            </a:r>
            <a:endParaRPr lang="en-US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A3D172-5349-245A-C639-B126631767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3376B3-FEDF-A9E3-7A28-10F2FC9C85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CCE3D7B-D3D9-44F7-C24A-7A6B6A3B64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5D88D68-78E8-9E70-BCBA-B69E6667DED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1651088-4A29-3CD4-9CDF-4BCF2BC058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0312" y="4246160"/>
            <a:ext cx="11331375" cy="1437345"/>
          </a:xfrm>
        </p:spPr>
        <p:txBody>
          <a:bodyPr vert="horz"/>
          <a:lstStyle/>
          <a:p>
            <a:r>
              <a:rPr lang="en-GB" sz="4000" dirty="0">
                <a:solidFill>
                  <a:schemeClr val="dk2"/>
                </a:solidFill>
              </a:rPr>
              <a:t>Resolve</a:t>
            </a:r>
            <a:r>
              <a:rPr lang="en-GB" sz="4000" dirty="0">
                <a:solidFill>
                  <a:srgbClr val="FF0000"/>
                </a:solidFill>
              </a:rPr>
              <a:t> </a:t>
            </a:r>
            <a:r>
              <a:rPr lang="en-GB" sz="4000" dirty="0">
                <a:solidFill>
                  <a:schemeClr val="dk2"/>
                </a:solidFill>
              </a:rPr>
              <a:t>permission problem</a:t>
            </a:r>
            <a:r>
              <a:rPr lang="en-US" sz="4000" dirty="0">
                <a:solidFill>
                  <a:schemeClr val="dk2"/>
                </a:solidFill>
              </a:rPr>
              <a:t> </a:t>
            </a:r>
            <a:r>
              <a:rPr lang="en-GB" sz="4000" dirty="0">
                <a:solidFill>
                  <a:schemeClr val="dk2"/>
                </a:solidFill>
              </a:rPr>
              <a:t>in</a:t>
            </a:r>
            <a:br>
              <a:rPr lang="en-US" sz="4000" dirty="0">
                <a:solidFill>
                  <a:schemeClr val="dk2"/>
                </a:solidFill>
              </a:rPr>
            </a:br>
            <a:r>
              <a:rPr lang="en-GB" sz="4000" dirty="0">
                <a:solidFill>
                  <a:schemeClr val="dk2"/>
                </a:solidFill>
              </a:rPr>
              <a:t>Google Drive</a:t>
            </a:r>
            <a:endParaRPr lang="en-US" sz="4000" dirty="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094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CFC46F-0B57-626D-6B8B-22C257A7E1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76994"/>
            <a:ext cx="6096000" cy="4202011"/>
          </a:xfrm>
          <a:prstGeom prst="rect">
            <a:avLst/>
          </a:prstGeom>
          <a:noFill/>
          <a:ln>
            <a:noFill/>
          </a:ln>
        </p:spPr>
      </p:pic>
      <p:sp>
        <p:nvSpPr>
          <p:cNvPr id="309" name="Google Shape;309;g36f56cd1dea_1_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Add column path to table Folder and </a:t>
            </a:r>
            <a:r>
              <a:rPr lang="en-GB" dirty="0" err="1"/>
              <a:t>UserFi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016307-979D-8B00-D684-30D68CDFDD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308943"/>
            <a:ext cx="6096001" cy="1770062"/>
          </a:xfrm>
          <a:prstGeom prst="rect">
            <a:avLst/>
          </a:prstGeom>
        </p:spPr>
      </p:pic>
      <p:sp>
        <p:nvSpPr>
          <p:cNvPr id="11" name="Rectangle 2">
            <a:extLst>
              <a:ext uri="{FF2B5EF4-FFF2-40B4-BE49-F238E27FC236}">
                <a16:creationId xmlns:a16="http://schemas.microsoft.com/office/drawing/2014/main" id="{F1D4AFCD-7CBD-91F9-771D-5BB6C6BDCAF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2164712"/>
            <a:ext cx="5416909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b="0" dirty="0"/>
              <a:t>Folders and user files use a hierarchical path: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dirty="0"/>
              <a:t>Folders</a:t>
            </a:r>
            <a:r>
              <a:rPr lang="en-US" b="0" dirty="0"/>
              <a:t>: </a:t>
            </a:r>
            <a:r>
              <a:rPr lang="en-US" b="0" dirty="0" err="1"/>
              <a:t>ParentFolderPath</a:t>
            </a:r>
            <a:r>
              <a:rPr lang="en-US" b="0" dirty="0"/>
              <a:t> + "/" + </a:t>
            </a:r>
            <a:r>
              <a:rPr lang="en-US" b="0" dirty="0" err="1"/>
              <a:t>ChildFolderId</a:t>
            </a:r>
            <a:endParaRPr lang="en-US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dirty="0"/>
              <a:t>Files</a:t>
            </a:r>
            <a:r>
              <a:rPr lang="en-US" b="0" dirty="0"/>
              <a:t>: </a:t>
            </a:r>
            <a:r>
              <a:rPr lang="en-US" b="0" dirty="0" err="1"/>
              <a:t>FolderPath</a:t>
            </a:r>
            <a:r>
              <a:rPr lang="en-US" b="0" dirty="0"/>
              <a:t> + "/" + </a:t>
            </a:r>
            <a:r>
              <a:rPr lang="en-US" b="0" dirty="0" err="1"/>
              <a:t>UserFileId</a:t>
            </a:r>
            <a:endParaRPr lang="en-US" b="0" dirty="0"/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b="0" dirty="0"/>
              <a:t>This keeps each item uniquely located and clearly linked to its parent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8DF3CAC-C62C-6142-5459-C620F3AD6D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4174" y="2212580"/>
            <a:ext cx="3667637" cy="2686425"/>
          </a:xfrm>
          <a:prstGeom prst="rect">
            <a:avLst/>
          </a:prstGeom>
        </p:spPr>
      </p:pic>
      <p:sp>
        <p:nvSpPr>
          <p:cNvPr id="5" name="Google Shape;309;g36f56cd1dea_1_13">
            <a:extLst>
              <a:ext uri="{FF2B5EF4-FFF2-40B4-BE49-F238E27FC236}">
                <a16:creationId xmlns:a16="http://schemas.microsoft.com/office/drawing/2014/main" id="{94FB9726-10B5-0256-76B0-1D830F34D2EB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2800" dirty="0"/>
              <a:t>Example Data For Share Feature</a:t>
            </a:r>
            <a:endParaRPr lang="en-US" sz="2800" dirty="0">
              <a:effectLst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56409F-756A-F6EE-7648-ECA56E49C5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" y="1098000"/>
            <a:ext cx="6335009" cy="245779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03811F0-A407-6999-1591-B79ED68BD2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399" y="3841977"/>
            <a:ext cx="6335009" cy="2762636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C9E015-2293-F771-52F5-BB2C7A5FFB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3D7C80-B14B-1BB9-6138-8D47A13660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EEE08234-6E8F-D4CF-305E-7CAC5136F02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EC8DE57-C78E-2A30-07B6-A7D16FB91C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sz="4400" dirty="0">
                <a:solidFill>
                  <a:schemeClr val="dk2"/>
                </a:solidFill>
              </a:rPr>
              <a:t>WHAT IS BM25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sz="4400" dirty="0">
                <a:solidFill>
                  <a:schemeClr val="dk2"/>
                </a:solidFill>
              </a:rPr>
              <a:t>?</a:t>
            </a:r>
            <a:endParaRPr lang="en-US" sz="4400" dirty="0">
              <a:solidFill>
                <a:schemeClr val="dk2"/>
              </a:solidFill>
            </a:endParaRPr>
          </a:p>
        </p:txBody>
      </p:sp>
      <p:sp>
        <p:nvSpPr>
          <p:cNvPr id="2" name="Google Shape;324;p2">
            <a:extLst>
              <a:ext uri="{FF2B5EF4-FFF2-40B4-BE49-F238E27FC236}">
                <a16:creationId xmlns:a16="http://schemas.microsoft.com/office/drawing/2014/main" id="{B3D1601A-10BD-8D73-521A-81178E5C549E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 dirty="0">
                <a:solidFill>
                  <a:schemeClr val="dk2"/>
                </a:solidFill>
              </a:rPr>
              <a:t>How to score in BM25 ?</a:t>
            </a:r>
            <a:endParaRPr b="1" dirty="0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579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Google Shape;204;g36f56cd1dea_2_17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0154" r="30154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514350" indent="-514350">
              <a:lnSpc>
                <a:spcPct val="150000"/>
              </a:lnSpc>
              <a:spcBef>
                <a:spcPts val="0"/>
              </a:spcBef>
              <a:buSzPts val="3140"/>
            </a:pPr>
            <a:r>
              <a:rPr lang="en-US" sz="2600" dirty="0"/>
              <a:t>Key Functionalities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buSzPts val="3140"/>
            </a:pPr>
            <a:r>
              <a:rPr lang="en-US" sz="2600" dirty="0"/>
              <a:t>Google Drive UI Analysis and   database design as follow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buSzPts val="3140"/>
            </a:pPr>
            <a:r>
              <a:rPr lang="en-US" sz="2600" dirty="0"/>
              <a:t>Resolve Permission in Google Drive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buSzPts val="3140"/>
            </a:pPr>
            <a:r>
              <a:rPr lang="en-US" sz="2600" dirty="0"/>
              <a:t>Full-text Search with BM25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buSzPts val="3140"/>
            </a:pPr>
            <a:r>
              <a:rPr lang="en-US" sz="2600" dirty="0"/>
              <a:t>Q&amp;A</a:t>
            </a:r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 dirty="0"/>
              <a:t>Agenda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634E14-6507-B285-ECCD-00EC3A7282F1}"/>
              </a:ext>
            </a:extLst>
          </p:cNvPr>
          <p:cNvSpPr txBox="1"/>
          <p:nvPr/>
        </p:nvSpPr>
        <p:spPr>
          <a:xfrm>
            <a:off x="635000" y="4229100"/>
            <a:ext cx="11049000" cy="1967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/>
                </a:solidFill>
              </a:rPr>
              <a:t>N is total number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tx1"/>
                </a:solidFill>
              </a:rPr>
              <a:t>n(qi) is the number of documents containing qi </a:t>
            </a:r>
            <a:r>
              <a:rPr lang="en-US" sz="2800" dirty="0" err="1">
                <a:solidFill>
                  <a:schemeClr val="tx1"/>
                </a:solidFill>
              </a:rPr>
              <a:t>a.k.a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df</a:t>
            </a:r>
            <a:endParaRPr lang="en-US" sz="2800" dirty="0">
              <a:solidFill>
                <a:schemeClr val="tx1"/>
              </a:solidFill>
            </a:endParaRP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tx1"/>
                </a:solidFill>
              </a:rPr>
              <a:t>|D| : Length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 err="1">
                <a:solidFill>
                  <a:schemeClr val="tx1"/>
                </a:solidFill>
              </a:rPr>
              <a:t>avgdl</a:t>
            </a:r>
            <a:r>
              <a:rPr lang="en-US" sz="2800" dirty="0">
                <a:solidFill>
                  <a:schemeClr val="tx1"/>
                </a:solidFill>
              </a:rPr>
              <a:t> : Average document length in the collection</a:t>
            </a:r>
          </a:p>
        </p:txBody>
      </p:sp>
      <p:sp>
        <p:nvSpPr>
          <p:cNvPr id="3" name="Google Shape;309;g36f56cd1dea_1_13">
            <a:extLst>
              <a:ext uri="{FF2B5EF4-FFF2-40B4-BE49-F238E27FC236}">
                <a16:creationId xmlns:a16="http://schemas.microsoft.com/office/drawing/2014/main" id="{A9BF42DD-FEFA-E6AB-14EF-250C2E2BFE18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2800" dirty="0"/>
              <a:t>How</a:t>
            </a:r>
            <a:r>
              <a:rPr lang="en-US" sz="2800" dirty="0"/>
              <a:t> to score in BM25?</a:t>
            </a:r>
            <a:endParaRPr lang="en-US" sz="2800" dirty="0">
              <a:effectLst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7B6AF0C-0137-3780-F446-858BE06BD587}"/>
              </a:ext>
            </a:extLst>
          </p:cNvPr>
          <p:cNvSpPr txBox="1"/>
          <p:nvPr/>
        </p:nvSpPr>
        <p:spPr>
          <a:xfrm>
            <a:off x="406400" y="3534013"/>
            <a:ext cx="1137920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SzPts val="2400"/>
            </a:pPr>
            <a:r>
              <a:rPr lang="en-US" sz="3000" b="1" dirty="0">
                <a:solidFill>
                  <a:schemeClr val="tx1"/>
                </a:solidFill>
              </a:rPr>
              <a:t>k_1</a:t>
            </a:r>
            <a:r>
              <a:rPr lang="en-US" sz="3000" dirty="0">
                <a:solidFill>
                  <a:schemeClr val="tx1"/>
                </a:solidFill>
              </a:rPr>
              <a:t>: A parameter (typically 1.2 to 2.0) controlling the impact of term frequency. Higher values allow more influence from frequent terms.</a:t>
            </a:r>
          </a:p>
          <a:p>
            <a:pPr lvl="0">
              <a:buSzPts val="2400"/>
            </a:pPr>
            <a:r>
              <a:rPr lang="en-US" sz="3000" b="1" dirty="0">
                <a:solidFill>
                  <a:schemeClr val="tx1"/>
                </a:solidFill>
              </a:rPr>
              <a:t>b</a:t>
            </a:r>
            <a:r>
              <a:rPr lang="en-US" sz="3000" dirty="0">
                <a:solidFill>
                  <a:schemeClr val="tx1"/>
                </a:solidFill>
              </a:rPr>
              <a:t>: A parameter (typically 0.75) controlling the effect of document length normalization. b=0 disables length normalization, while fully normalizes by document length.</a:t>
            </a:r>
          </a:p>
          <a:p>
            <a:endParaRPr lang="en-US" sz="3000" dirty="0">
              <a:solidFill>
                <a:schemeClr val="bg2"/>
              </a:solidFill>
            </a:endParaRPr>
          </a:p>
        </p:txBody>
      </p:sp>
      <p:pic>
        <p:nvPicPr>
          <p:cNvPr id="2" name="Google Shape;323;p2">
            <a:extLst>
              <a:ext uri="{FF2B5EF4-FFF2-40B4-BE49-F238E27FC236}">
                <a16:creationId xmlns:a16="http://schemas.microsoft.com/office/drawing/2014/main" id="{FCE81E4F-E879-D7E4-0F73-AF153D36B333}"/>
              </a:ext>
            </a:extLst>
          </p:cNvPr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294762" y="1221671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" name="Google Shape;309;g36f56cd1dea_1_13">
            <a:extLst>
              <a:ext uri="{FF2B5EF4-FFF2-40B4-BE49-F238E27FC236}">
                <a16:creationId xmlns:a16="http://schemas.microsoft.com/office/drawing/2014/main" id="{DBE2B31E-DF86-4FC6-C163-763E8C2E00F9}"/>
              </a:ext>
            </a:extLst>
          </p:cNvPr>
          <p:cNvSpPr txBox="1">
            <a:spLocks/>
          </p:cNvSpPr>
          <p:nvPr/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2800" dirty="0"/>
              <a:t>How to score in BM25?</a:t>
            </a:r>
            <a:endParaRPr lang="en-US" sz="2800" dirty="0">
              <a:effectLst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sz="4400" dirty="0"/>
              <a:t>HOW IS FULL TEXT SEARCH WORKS ? </a:t>
            </a:r>
            <a:endParaRPr sz="4400" dirty="0"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dirty="0"/>
              <a:t>FULL TEXT SEARCH SAMPLE DATA</a:t>
            </a:r>
            <a:endParaRPr dirty="0"/>
          </a:p>
        </p:txBody>
      </p:sp>
      <p:sp>
        <p:nvSpPr>
          <p:cNvPr id="2" name="Google Shape;324;p2">
            <a:extLst>
              <a:ext uri="{FF2B5EF4-FFF2-40B4-BE49-F238E27FC236}">
                <a16:creationId xmlns:a16="http://schemas.microsoft.com/office/drawing/2014/main" id="{C7BB985C-3A3C-3BC4-5779-33AAB598A553}"/>
              </a:ext>
            </a:extLst>
          </p:cNvPr>
          <p:cNvSpPr txBox="1">
            <a:spLocks/>
          </p:cNvSpPr>
          <p:nvPr/>
        </p:nvSpPr>
        <p:spPr>
          <a:xfrm>
            <a:off x="430350" y="960166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77190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2340"/>
              <a:buFont typeface="Arial"/>
              <a:buAutoNum type="arabicPeriod"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SzPts val="2400"/>
              <a:buFont typeface="Arial"/>
              <a:buNone/>
            </a:pPr>
            <a:r>
              <a:rPr lang="en-US" dirty="0">
                <a:solidFill>
                  <a:schemeClr val="dk2"/>
                </a:solidFill>
              </a:rPr>
              <a:t>TOKENIZATION and CACULATE BM25 SCO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EE1394-9092-C0AB-A82D-D0832B0DCB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64693"/>
            <a:ext cx="5762445" cy="11341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194370C-82F7-F243-540B-0922B369E9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2451" y="1652074"/>
            <a:ext cx="6131014" cy="11593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DC93F00-AA16-5086-6734-DFB08177B0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43384" y="2891483"/>
            <a:ext cx="6305232" cy="3563827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348;p6">
            <a:extLst>
              <a:ext uri="{FF2B5EF4-FFF2-40B4-BE49-F238E27FC236}">
                <a16:creationId xmlns:a16="http://schemas.microsoft.com/office/drawing/2014/main" id="{BA7D41B1-3E7B-DAB8-3467-AE8CFB9E16E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dirty="0"/>
              <a:t>FULL TEXT SEARCH SAMPLE DATA</a:t>
            </a:r>
            <a:endParaRPr dirty="0"/>
          </a:p>
        </p:txBody>
      </p:sp>
      <p:sp>
        <p:nvSpPr>
          <p:cNvPr id="5" name="Google Shape;324;p2">
            <a:extLst>
              <a:ext uri="{FF2B5EF4-FFF2-40B4-BE49-F238E27FC236}">
                <a16:creationId xmlns:a16="http://schemas.microsoft.com/office/drawing/2014/main" id="{388C4760-5FCC-6E51-325D-F699F9E296A4}"/>
              </a:ext>
            </a:extLst>
          </p:cNvPr>
          <p:cNvSpPr txBox="1">
            <a:spLocks/>
          </p:cNvSpPr>
          <p:nvPr/>
        </p:nvSpPr>
        <p:spPr>
          <a:xfrm>
            <a:off x="430350" y="960166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77190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2340"/>
              <a:buFont typeface="Arial"/>
              <a:buAutoNum type="arabicPeriod"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Bef>
                <a:spcPts val="0"/>
              </a:spcBef>
              <a:buSzPts val="2400"/>
              <a:buNone/>
            </a:pPr>
            <a:r>
              <a:rPr lang="en-US" dirty="0">
                <a:solidFill>
                  <a:schemeClr val="dk2"/>
                </a:solidFill>
              </a:rPr>
              <a:t>Use BM25 in full text search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629B6D4-A1BF-0963-0687-0E85ACEBDC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931" y="2498886"/>
            <a:ext cx="3356645" cy="295004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4875D1B-560F-B1DF-00B7-C8B2EB8FA0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8092" y="3241721"/>
            <a:ext cx="9363613" cy="2070740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276592D-E18F-7BB9-113B-78DBC77726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22480"/>
            <a:ext cx="12192000" cy="451104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 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000" dirty="0">
                <a:solidFill>
                  <a:schemeClr val="dk2"/>
                </a:solidFill>
              </a:rPr>
              <a:t>Key</a:t>
            </a:r>
            <a:r>
              <a:rPr lang="en-US" sz="4000" dirty="0">
                <a:solidFill>
                  <a:srgbClr val="FF0000"/>
                </a:solidFill>
              </a:rPr>
              <a:t> </a:t>
            </a:r>
            <a:r>
              <a:rPr lang="en-US" sz="4000" dirty="0">
                <a:solidFill>
                  <a:schemeClr val="dk2"/>
                </a:solidFill>
              </a:rPr>
              <a:t>Functionalities</a:t>
            </a: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7CAB0-B37D-52A6-4426-B2C2E84419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30000"/>
            <a:ext cx="4813100" cy="4896000"/>
          </a:xfrm>
        </p:spPr>
        <p:txBody>
          <a:bodyPr wrap="square" anchor="t"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File storage and manage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Share and collabora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Search and acces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Mobile and offline application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62CE5-8D7B-3AB9-4C63-246726DC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Key Functionalities of Google Driv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87623FB-0B9E-484D-497C-31A2509D8E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754812">
            <a:off x="4994784" y="1783715"/>
            <a:ext cx="6702727" cy="368482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361816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4D7DB-8582-EC70-FDCF-29BB93225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CCE3D7B-D3D9-44F7-C24A-7A6B6A3B64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74FADEE-FF31-2569-C8AB-46FCD020D7D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B276657-4E72-5A43-B879-6F47CC618D5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000" dirty="0">
                <a:solidFill>
                  <a:schemeClr val="dk2"/>
                </a:solidFill>
              </a:rPr>
              <a:t>Google</a:t>
            </a:r>
            <a:r>
              <a:rPr lang="en-US" sz="4000" dirty="0">
                <a:solidFill>
                  <a:srgbClr val="FF0000"/>
                </a:solidFill>
              </a:rPr>
              <a:t> </a:t>
            </a:r>
            <a:r>
              <a:rPr lang="en-US" sz="4000" dirty="0">
                <a:solidFill>
                  <a:schemeClr val="dk2"/>
                </a:solidFill>
              </a:rPr>
              <a:t>Drive UI Analysis</a:t>
            </a:r>
          </a:p>
        </p:txBody>
      </p:sp>
    </p:spTree>
    <p:extLst>
      <p:ext uri="{BB962C8B-B14F-4D97-AF65-F5344CB8AC3E}">
        <p14:creationId xmlns:p14="http://schemas.microsoft.com/office/powerpoint/2010/main" val="1939673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61BA794-6356-97E6-B249-D9D1D3BC34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4687" y="1098000"/>
            <a:ext cx="9442625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First Screen</a:t>
            </a:r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BE822E6-FC81-968F-9941-6F86621A5EC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7488"/>
          <a:stretch>
            <a:fillRect/>
          </a:stretch>
        </p:blipFill>
        <p:spPr>
          <a:xfrm>
            <a:off x="2306526" y="1098000"/>
            <a:ext cx="7578948" cy="5328679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g344eaf56fbf_3_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First Screen</a:t>
            </a:r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531E1719-B302-3DDF-19BC-533A7BDB5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6F0F3C-FF08-3AE1-7495-DAECC5F1ED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368" y="1098000"/>
            <a:ext cx="10105264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337860C7-24D7-22CB-909E-D43B980B56B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Account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5961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5</TotalTime>
  <Words>1629</Words>
  <Application>Microsoft Office PowerPoint</Application>
  <PresentationFormat>Widescreen</PresentationFormat>
  <Paragraphs>290</Paragraphs>
  <Slides>35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0" baseType="lpstr">
      <vt:lpstr>Arial</vt:lpstr>
      <vt:lpstr>Calibri</vt:lpstr>
      <vt:lpstr>Consolas</vt:lpstr>
      <vt:lpstr>bbv template EN</vt:lpstr>
      <vt:lpstr>think-cell Slide</vt:lpstr>
      <vt:lpstr>PowerPoint Presentation</vt:lpstr>
      <vt:lpstr>Presentation on Google Drive Functionalities</vt:lpstr>
      <vt:lpstr>Agenda</vt:lpstr>
      <vt:lpstr>Key Functionalities</vt:lpstr>
      <vt:lpstr>Key Functionalities of Google Drive</vt:lpstr>
      <vt:lpstr>Google Drive UI Analysis</vt:lpstr>
      <vt:lpstr>First Screen</vt:lpstr>
      <vt:lpstr>Database Structure of First Screen</vt:lpstr>
      <vt:lpstr>Account Screen</vt:lpstr>
      <vt:lpstr>Setting Screen</vt:lpstr>
      <vt:lpstr>Database Structure For Setting Screen</vt:lpstr>
      <vt:lpstr>Block User Feature</vt:lpstr>
      <vt:lpstr>Database Structure of Block User Feature</vt:lpstr>
      <vt:lpstr>My Drive Screen</vt:lpstr>
      <vt:lpstr>Stared Screen</vt:lpstr>
      <vt:lpstr>Database Structure of Stared Screen</vt:lpstr>
      <vt:lpstr>Share Screen</vt:lpstr>
      <vt:lpstr>Share With Me Screen</vt:lpstr>
      <vt:lpstr>Database Structure of Share feature</vt:lpstr>
      <vt:lpstr>ActionRecent Screen</vt:lpstr>
      <vt:lpstr>Trash Screen</vt:lpstr>
      <vt:lpstr>Database Structure of Trash Screen</vt:lpstr>
      <vt:lpstr>Storage Screen</vt:lpstr>
      <vt:lpstr>Product Item Screen</vt:lpstr>
      <vt:lpstr>Database Structure of Product Feature</vt:lpstr>
      <vt:lpstr>Resolve permission problem in Google Drive</vt:lpstr>
      <vt:lpstr>Add column path to table Folder and UserFile</vt:lpstr>
      <vt:lpstr>PowerPoint Presentation</vt:lpstr>
      <vt:lpstr>WHAT IS BM25 ?</vt:lpstr>
      <vt:lpstr>PowerPoint Presentation</vt:lpstr>
      <vt:lpstr>PowerPoint Presentation</vt:lpstr>
      <vt:lpstr>HOW IS FULL TEXT SEARCH WORKS ? </vt:lpstr>
      <vt:lpstr>FULL TEXT SEARCH SAMPLE DATA</vt:lpstr>
      <vt:lpstr>FULL TEXT SEARCH SAMPLE DATA</vt:lpstr>
      <vt:lpstr>SQL Implement Full Text Search BM2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Diễm Nguyễn</cp:lastModifiedBy>
  <cp:revision>38</cp:revision>
  <dcterms:created xsi:type="dcterms:W3CDTF">2025-07-10T03:51:23Z</dcterms:created>
  <dcterms:modified xsi:type="dcterms:W3CDTF">2025-08-12T10:03:57Z</dcterms:modified>
</cp:coreProperties>
</file>